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57" r:id="rId2"/>
    <p:sldId id="358" r:id="rId3"/>
    <p:sldId id="359" r:id="rId4"/>
  </p:sldIdLst>
  <p:sldSz cx="10691813" cy="7559675"/>
  <p:notesSz cx="7315200" cy="9601200"/>
  <p:custDataLst>
    <p:tags r:id="rId7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19" d="100"/>
          <a:sy n="119" d="100"/>
        </p:scale>
        <p:origin x="774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d=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B0604020202020204" pitchFamily="2" charset="-79"/>
                <a:ea typeface="+mn-ea"/>
                <a:cs typeface="Aharoni" panose="020B0604020202020204" pitchFamily="2" charset="-79"/>
              </a:defRPr>
            </a:pPr>
            <a:r>
              <a:rPr lang="en-US" dirty="0"/>
              <a:t>Series 1_id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uk-UA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C-476E-B53D-82B7EE5ED5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C-476E-B53D-82B7EE5ED5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C-476E-B53D-82B7EE5ED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8842399"/>
        <c:axId val="653069919"/>
      </c:barChart>
      <c:catAx>
        <c:axId val="89884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069919"/>
        <c:crosses val="autoZero"/>
        <c:auto val="1"/>
        <c:lblAlgn val="ctr"/>
        <c:lblOffset val="100"/>
        <c:noMultiLvlLbl val="0"/>
      </c:catAx>
      <c:valAx>
        <c:axId val="653069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884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23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4093287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992654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757383" y="417936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D373F6-7E7A-4201-959C-ECEFA520F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1764" y="417936"/>
            <a:ext cx="2659424" cy="2984812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2D3782-8DE1-434B-9943-C0C12F30C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206286"/>
              </p:ext>
            </p:extLst>
          </p:nvPr>
        </p:nvGraphicFramePr>
        <p:xfrm>
          <a:off x="757383" y="1976582"/>
          <a:ext cx="4451926" cy="367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275C2E6-9FCA-4C00-862E-6EB14C4FD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226698"/>
              </p:ext>
            </p:extLst>
          </p:nvPr>
        </p:nvGraphicFramePr>
        <p:xfrm>
          <a:off x="757383" y="5754206"/>
          <a:ext cx="7127874" cy="1165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958">
                  <a:extLst>
                    <a:ext uri="{9D8B030D-6E8A-4147-A177-3AD203B41FA5}">
                      <a16:colId xmlns:a16="http://schemas.microsoft.com/office/drawing/2014/main" val="1847140761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114985627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3401645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175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8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76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23</Words>
  <Application>Microsoft Office PowerPoint</Application>
  <PresentationFormat>Custom</PresentationFormat>
  <Paragraphs>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haroni</vt:lpstr>
      <vt:lpstr>Arial</vt:lpstr>
      <vt:lpstr>Calibri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1-06-23T16:37:40Z</dcterms:modified>
</cp:coreProperties>
</file>